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2" r:id="rId2"/>
  </p:sldMasterIdLst>
  <p:notesMasterIdLst>
    <p:notesMasterId r:id="rId5"/>
  </p:notesMasterIdLst>
  <p:sldIdLst>
    <p:sldId id="314" r:id="rId3"/>
    <p:sldId id="31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D3C2"/>
    <a:srgbClr val="9CD3C4"/>
    <a:srgbClr val="98D2BF"/>
    <a:srgbClr val="E6F4ED"/>
    <a:srgbClr val="A2D6BE"/>
    <a:srgbClr val="8FCDB1"/>
    <a:srgbClr val="439771"/>
    <a:srgbClr val="49A57B"/>
    <a:srgbClr val="8BCBAE"/>
    <a:srgbClr val="CAD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05E12D-E5AD-4CCD-BCE0-AE0E8523EA91}" v="214" dt="2022-11-10T16:17:14.595"/>
    <p1510:client id="{6F907AAC-D930-4567-876C-DBA2AD137AE7}" v="9" dt="2022-11-02T14:51:54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912" autoAdjust="0"/>
    <p:restoredTop sz="94249" autoAdjust="0"/>
  </p:normalViewPr>
  <p:slideViewPr>
    <p:cSldViewPr snapToGrid="0">
      <p:cViewPr varScale="1">
        <p:scale>
          <a:sx n="102" d="100"/>
          <a:sy n="102" d="100"/>
        </p:scale>
        <p:origin x="762" y="96"/>
      </p:cViewPr>
      <p:guideLst/>
    </p:cSldViewPr>
  </p:slideViewPr>
  <p:outlineViewPr>
    <p:cViewPr>
      <p:scale>
        <a:sx n="33" d="100"/>
        <a:sy n="33" d="100"/>
      </p:scale>
      <p:origin x="0" y="-364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i Khoury" userId="S::rami@auxi.ai::71bbf9ab-5347-4116-ad90-41b06fea083e" providerId="AD" clId="Web-{0F05E12D-E5AD-4CCD-BCE0-AE0E8523EA91}"/>
    <pc:docChg chg="addSld delSld modSld modSection">
      <pc:chgData name="Rami Khoury" userId="S::rami@auxi.ai::71bbf9ab-5347-4116-ad90-41b06fea083e" providerId="AD" clId="Web-{0F05E12D-E5AD-4CCD-BCE0-AE0E8523EA91}" dt="2022-11-10T16:17:14.314" v="197" actId="20577"/>
      <pc:docMkLst>
        <pc:docMk/>
      </pc:docMkLst>
      <pc:sldChg chg="addSp modSp">
        <pc:chgData name="Rami Khoury" userId="S::rami@auxi.ai::71bbf9ab-5347-4116-ad90-41b06fea083e" providerId="AD" clId="Web-{0F05E12D-E5AD-4CCD-BCE0-AE0E8523EA91}" dt="2022-11-10T16:12:19.730" v="12" actId="20577"/>
        <pc:sldMkLst>
          <pc:docMk/>
          <pc:sldMk cId="2001438181" sldId="414"/>
        </pc:sldMkLst>
        <pc:spChg chg="add mod">
          <ac:chgData name="Rami Khoury" userId="S::rami@auxi.ai::71bbf9ab-5347-4116-ad90-41b06fea083e" providerId="AD" clId="Web-{0F05E12D-E5AD-4CCD-BCE0-AE0E8523EA91}" dt="2022-11-10T16:12:19.730" v="12" actId="20577"/>
          <ac:spMkLst>
            <pc:docMk/>
            <pc:sldMk cId="2001438181" sldId="414"/>
            <ac:spMk id="3" creationId="{CC062EAB-C249-7060-E30B-C19AC4862F8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3:13.481" v="22" actId="1076"/>
        <pc:sldMkLst>
          <pc:docMk/>
          <pc:sldMk cId="3992836934" sldId="416"/>
        </pc:sldMkLst>
        <pc:spChg chg="add mod">
          <ac:chgData name="Rami Khoury" userId="S::rami@auxi.ai::71bbf9ab-5347-4116-ad90-41b06fea083e" providerId="AD" clId="Web-{0F05E12D-E5AD-4CCD-BCE0-AE0E8523EA91}" dt="2022-11-10T16:13:13.481" v="22" actId="1076"/>
          <ac:spMkLst>
            <pc:docMk/>
            <pc:sldMk cId="3992836934" sldId="416"/>
            <ac:spMk id="3" creationId="{2E336C8A-9CEB-6D6A-7908-B25424C6F4E9}"/>
          </ac:spMkLst>
        </pc:spChg>
      </pc:sldChg>
      <pc:sldChg chg="addSp delSp modSp add del">
        <pc:chgData name="Rami Khoury" userId="S::rami@auxi.ai::71bbf9ab-5347-4116-ad90-41b06fea083e" providerId="AD" clId="Web-{0F05E12D-E5AD-4CCD-BCE0-AE0E8523EA91}" dt="2022-11-10T16:13:39.825" v="43" actId="20577"/>
        <pc:sldMkLst>
          <pc:docMk/>
          <pc:sldMk cId="3140112688" sldId="417"/>
        </pc:sldMkLst>
        <pc:spChg chg="add del mod">
          <ac:chgData name="Rami Khoury" userId="S::rami@auxi.ai::71bbf9ab-5347-4116-ad90-41b06fea083e" providerId="AD" clId="Web-{0F05E12D-E5AD-4CCD-BCE0-AE0E8523EA91}" dt="2022-11-10T16:13:18.262" v="26"/>
          <ac:spMkLst>
            <pc:docMk/>
            <pc:sldMk cId="3140112688" sldId="417"/>
            <ac:spMk id="3" creationId="{80B8F26D-0BE7-EDE6-7E62-3034B9E41D86}"/>
          </ac:spMkLst>
        </pc:spChg>
        <pc:spChg chg="add del mod">
          <ac:chgData name="Rami Khoury" userId="S::rami@auxi.ai::71bbf9ab-5347-4116-ad90-41b06fea083e" providerId="AD" clId="Web-{0F05E12D-E5AD-4CCD-BCE0-AE0E8523EA91}" dt="2022-11-10T16:13:34.247" v="31"/>
          <ac:spMkLst>
            <pc:docMk/>
            <pc:sldMk cId="3140112688" sldId="417"/>
            <ac:spMk id="4" creationId="{003CDC4E-FA54-8E28-DEE4-F6013A5F0413}"/>
          </ac:spMkLst>
        </pc:spChg>
        <pc:spChg chg="add mod">
          <ac:chgData name="Rami Khoury" userId="S::rami@auxi.ai::71bbf9ab-5347-4116-ad90-41b06fea083e" providerId="AD" clId="Web-{0F05E12D-E5AD-4CCD-BCE0-AE0E8523EA91}" dt="2022-11-10T16:13:39.825" v="43" actId="20577"/>
          <ac:spMkLst>
            <pc:docMk/>
            <pc:sldMk cId="3140112688" sldId="417"/>
            <ac:spMk id="7" creationId="{DFA4F06A-320F-144A-39C8-0A7EFF682458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26.045" v="109" actId="20577"/>
        <pc:sldMkLst>
          <pc:docMk/>
          <pc:sldMk cId="2730051296" sldId="419"/>
        </pc:sldMkLst>
        <pc:spChg chg="add mod">
          <ac:chgData name="Rami Khoury" userId="S::rami@auxi.ai::71bbf9ab-5347-4116-ad90-41b06fea083e" providerId="AD" clId="Web-{0F05E12D-E5AD-4CCD-BCE0-AE0E8523EA91}" dt="2022-11-10T16:14:26.045" v="109" actId="20577"/>
          <ac:spMkLst>
            <pc:docMk/>
            <pc:sldMk cId="2730051296" sldId="419"/>
            <ac:spMk id="6" creationId="{240A4CCC-E414-E154-DC3F-DE4D0B9E4E6A}"/>
          </ac:spMkLst>
        </pc:spChg>
        <pc:spChg chg="mod">
          <ac:chgData name="Rami Khoury" userId="S::rami@auxi.ai::71bbf9ab-5347-4116-ad90-41b06fea083e" providerId="AD" clId="Web-{0F05E12D-E5AD-4CCD-BCE0-AE0E8523EA91}" dt="2022-11-10T16:14:07.841" v="86" actId="14100"/>
          <ac:spMkLst>
            <pc:docMk/>
            <pc:sldMk cId="2730051296" sldId="419"/>
            <ac:spMk id="25" creationId="{EE47316F-41E8-68C0-898F-3ED8FC7651F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41.279" v="113" actId="20577"/>
        <pc:sldMkLst>
          <pc:docMk/>
          <pc:sldMk cId="3660211604" sldId="425"/>
        </pc:sldMkLst>
        <pc:spChg chg="add mod">
          <ac:chgData name="Rami Khoury" userId="S::rami@auxi.ai::71bbf9ab-5347-4116-ad90-41b06fea083e" providerId="AD" clId="Web-{0F05E12D-E5AD-4CCD-BCE0-AE0E8523EA91}" dt="2022-11-10T16:14:41.279" v="113" actId="20577"/>
          <ac:spMkLst>
            <pc:docMk/>
            <pc:sldMk cId="3660211604" sldId="425"/>
            <ac:spMk id="6" creationId="{EE65DF4C-9F65-1789-93A2-39521A5967A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50.905" v="116" actId="20577"/>
        <pc:sldMkLst>
          <pc:docMk/>
          <pc:sldMk cId="2388409517" sldId="426"/>
        </pc:sldMkLst>
        <pc:spChg chg="add mod">
          <ac:chgData name="Rami Khoury" userId="S::rami@auxi.ai::71bbf9ab-5347-4116-ad90-41b06fea083e" providerId="AD" clId="Web-{0F05E12D-E5AD-4CCD-BCE0-AE0E8523EA91}" dt="2022-11-10T16:14:50.905" v="116" actId="20577"/>
          <ac:spMkLst>
            <pc:docMk/>
            <pc:sldMk cId="2388409517" sldId="426"/>
            <ac:spMk id="6" creationId="{044719B5-9F0C-5EC8-9638-6E216375488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5:35.640" v="135" actId="20577"/>
        <pc:sldMkLst>
          <pc:docMk/>
          <pc:sldMk cId="568402001" sldId="443"/>
        </pc:sldMkLst>
        <pc:spChg chg="add mod">
          <ac:chgData name="Rami Khoury" userId="S::rami@auxi.ai::71bbf9ab-5347-4116-ad90-41b06fea083e" providerId="AD" clId="Web-{0F05E12D-E5AD-4CCD-BCE0-AE0E8523EA91}" dt="2022-11-10T16:15:35.640" v="135" actId="20577"/>
          <ac:spMkLst>
            <pc:docMk/>
            <pc:sldMk cId="568402001" sldId="443"/>
            <ac:spMk id="4" creationId="{EEAB5E9B-8B9C-B581-B93B-650C37F994E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20.719" v="152" actId="20577"/>
        <pc:sldMkLst>
          <pc:docMk/>
          <pc:sldMk cId="484966792" sldId="454"/>
        </pc:sldMkLst>
        <pc:spChg chg="add mod">
          <ac:chgData name="Rami Khoury" userId="S::rami@auxi.ai::71bbf9ab-5347-4116-ad90-41b06fea083e" providerId="AD" clId="Web-{0F05E12D-E5AD-4CCD-BCE0-AE0E8523EA91}" dt="2022-11-10T16:16:20.719" v="152" actId="20577"/>
          <ac:spMkLst>
            <pc:docMk/>
            <pc:sldMk cId="484966792" sldId="454"/>
            <ac:spMk id="21" creationId="{54E6AAF6-0C68-4272-16C1-488C0BAC66A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54.235" v="184" actId="20577"/>
        <pc:sldMkLst>
          <pc:docMk/>
          <pc:sldMk cId="2275337115" sldId="456"/>
        </pc:sldMkLst>
        <pc:spChg chg="add mod">
          <ac:chgData name="Rami Khoury" userId="S::rami@auxi.ai::71bbf9ab-5347-4116-ad90-41b06fea083e" providerId="AD" clId="Web-{0F05E12D-E5AD-4CCD-BCE0-AE0E8523EA91}" dt="2022-11-10T16:16:54.235" v="184" actId="20577"/>
          <ac:spMkLst>
            <pc:docMk/>
            <pc:sldMk cId="2275337115" sldId="456"/>
            <ac:spMk id="6" creationId="{417D2393-8D83-3215-0F8E-6157E1FB171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7:14.314" v="197" actId="20577"/>
        <pc:sldMkLst>
          <pc:docMk/>
          <pc:sldMk cId="4219718538" sldId="462"/>
        </pc:sldMkLst>
        <pc:spChg chg="add mod">
          <ac:chgData name="Rami Khoury" userId="S::rami@auxi.ai::71bbf9ab-5347-4116-ad90-41b06fea083e" providerId="AD" clId="Web-{0F05E12D-E5AD-4CCD-BCE0-AE0E8523EA91}" dt="2022-11-10T16:17:14.314" v="197" actId="20577"/>
          <ac:spMkLst>
            <pc:docMk/>
            <pc:sldMk cId="4219718538" sldId="462"/>
            <ac:spMk id="4" creationId="{D17F0239-A2E4-3888-0FD8-708D862B48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E753A-2A8E-4FA4-A857-233A56515A45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1192C7-DD78-40CC-9E1E-119A9A8D5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000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47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030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9A178C1-A3AB-42DA-BD9F-02AB940D8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68350"/>
          </a:xfrm>
        </p:spPr>
        <p:txBody>
          <a:bodyPr>
            <a:normAutofit/>
          </a:bodyPr>
          <a:lstStyle>
            <a:lvl1pPr algn="ctr">
              <a:defRPr sz="4000"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FBAF10-DC5A-4BE2-AF72-24BC22FFEA67}"/>
              </a:ext>
            </a:extLst>
          </p:cNvPr>
          <p:cNvCxnSpPr/>
          <p:nvPr userDrawn="1"/>
        </p:nvCxnSpPr>
        <p:spPr>
          <a:xfrm>
            <a:off x="4714875" y="1133476"/>
            <a:ext cx="2762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690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966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png"/><Relationship Id="rId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EC6455-DFBA-4FC6-912D-7CA9E9746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BE9-A651-402B-A68B-4ADB2D1EB9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829385E8-B333-C51C-1469-DC584208D0E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29058" y="6529807"/>
            <a:ext cx="640457" cy="161583"/>
          </a:xfrm>
          <a:prstGeom prst="rect">
            <a:avLst/>
          </a:prstGeom>
          <a:noFill/>
        </p:spPr>
        <p:txBody>
          <a:bodyPr wrap="square" lIns="44450" tIns="19050" rIns="44450" bIns="1905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01/25/2023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4699937-9159-C88C-3118-DA7FF8370B93}"/>
              </a:ext>
            </a:extLst>
          </p:cNvPr>
          <p:cNvSpPr txBox="1">
            <a:spLocks/>
          </p:cNvSpPr>
          <p:nvPr userDrawn="1"/>
        </p:nvSpPr>
        <p:spPr>
          <a:xfrm>
            <a:off x="554736" y="6569049"/>
            <a:ext cx="3483865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ource: www.auxi.ai 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A0E4693-A9BB-3FC3-1927-CB83F8E467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0839" cy="59083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02E6C8-F963-A0C1-095E-0B43F738F44A}"/>
              </a:ext>
            </a:extLst>
          </p:cNvPr>
          <p:cNvCxnSpPr/>
          <p:nvPr userDrawn="1"/>
        </p:nvCxnSpPr>
        <p:spPr>
          <a:xfrm>
            <a:off x="251648" y="-535634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8B0FBD5-E1A4-B69C-450C-91624EA0407A}"/>
              </a:ext>
            </a:extLst>
          </p:cNvPr>
          <p:cNvSpPr txBox="1">
            <a:spLocks/>
          </p:cNvSpPr>
          <p:nvPr userDrawn="1"/>
        </p:nvSpPr>
        <p:spPr>
          <a:xfrm>
            <a:off x="11154508" y="6417897"/>
            <a:ext cx="39858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2CAE1DF-9AA2-46A4-9D05-5CEA4E3CC4AD}" type="slidenum">
              <a:rPr lang="en-US" sz="100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619C54-4128-E600-56AD-8F766CCBF434}"/>
              </a:ext>
            </a:extLst>
          </p:cNvPr>
          <p:cNvCxnSpPr/>
          <p:nvPr userDrawn="1"/>
        </p:nvCxnSpPr>
        <p:spPr>
          <a:xfrm>
            <a:off x="10157648" y="5725466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22">
            <a:extLst>
              <a:ext uri="{FF2B5EF4-FFF2-40B4-BE49-F238E27FC236}">
                <a16:creationId xmlns:a16="http://schemas.microsoft.com/office/drawing/2014/main" id="{9F332D41-702B-56F6-4D67-B234FF198D30}"/>
              </a:ext>
            </a:extLst>
          </p:cNvPr>
          <p:cNvSpPr/>
          <p:nvPr userDrawn="1"/>
        </p:nvSpPr>
        <p:spPr>
          <a:xfrm flipH="1">
            <a:off x="11012467" y="2260600"/>
            <a:ext cx="1171294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9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ahom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A6A8A0-BECD-FD00-7F8F-9737D020A33E}"/>
              </a:ext>
            </a:extLst>
          </p:cNvPr>
          <p:cNvSpPr/>
          <p:nvPr/>
        </p:nvSpPr>
        <p:spPr>
          <a:xfrm>
            <a:off x="5025652" y="4939046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BB644F-D013-996A-50C4-2AADA67344D4}"/>
              </a:ext>
            </a:extLst>
          </p:cNvPr>
          <p:cNvSpPr/>
          <p:nvPr/>
        </p:nvSpPr>
        <p:spPr>
          <a:xfrm>
            <a:off x="5025652" y="5276472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262A68-952C-41FE-9F1D-5298E0F74561}"/>
              </a:ext>
            </a:extLst>
          </p:cNvPr>
          <p:cNvSpPr/>
          <p:nvPr/>
        </p:nvSpPr>
        <p:spPr>
          <a:xfrm>
            <a:off x="1687120" y="2383260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3D7013-E534-10CF-8484-DE793B8E250E}"/>
              </a:ext>
            </a:extLst>
          </p:cNvPr>
          <p:cNvSpPr/>
          <p:nvPr/>
        </p:nvSpPr>
        <p:spPr>
          <a:xfrm>
            <a:off x="1687120" y="2720688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27A648-8554-55EB-A672-586799D655AB}"/>
              </a:ext>
            </a:extLst>
          </p:cNvPr>
          <p:cNvSpPr/>
          <p:nvPr/>
        </p:nvSpPr>
        <p:spPr>
          <a:xfrm>
            <a:off x="5025652" y="2383260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89EB6D-7F87-A677-F1D5-F6C858F52D4B}"/>
              </a:ext>
            </a:extLst>
          </p:cNvPr>
          <p:cNvSpPr/>
          <p:nvPr/>
        </p:nvSpPr>
        <p:spPr>
          <a:xfrm>
            <a:off x="5025652" y="2720688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F8D526-F8EB-99A5-72BA-4E1F6621E4B4}"/>
              </a:ext>
            </a:extLst>
          </p:cNvPr>
          <p:cNvSpPr/>
          <p:nvPr/>
        </p:nvSpPr>
        <p:spPr>
          <a:xfrm>
            <a:off x="8364182" y="2383260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40EB9CF-F0AB-5CCC-8C85-FCA157ACCF9F}"/>
              </a:ext>
            </a:extLst>
          </p:cNvPr>
          <p:cNvSpPr/>
          <p:nvPr/>
        </p:nvSpPr>
        <p:spPr>
          <a:xfrm>
            <a:off x="8364182" y="2720688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714DCA0-9363-3734-3144-78C8B403CEE6}"/>
              </a:ext>
            </a:extLst>
          </p:cNvPr>
          <p:cNvSpPr/>
          <p:nvPr/>
        </p:nvSpPr>
        <p:spPr>
          <a:xfrm>
            <a:off x="1687120" y="3661153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59BA1AA-9A78-9930-CEE5-F301C5F281E0}"/>
              </a:ext>
            </a:extLst>
          </p:cNvPr>
          <p:cNvSpPr/>
          <p:nvPr/>
        </p:nvSpPr>
        <p:spPr>
          <a:xfrm>
            <a:off x="1687120" y="3998580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4F7E85-22D3-8880-7CC9-5325BCD6367C}"/>
              </a:ext>
            </a:extLst>
          </p:cNvPr>
          <p:cNvSpPr/>
          <p:nvPr/>
        </p:nvSpPr>
        <p:spPr>
          <a:xfrm>
            <a:off x="8364182" y="4939046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E4852CF-537E-6678-098C-33E91130AE99}"/>
              </a:ext>
            </a:extLst>
          </p:cNvPr>
          <p:cNvSpPr/>
          <p:nvPr/>
        </p:nvSpPr>
        <p:spPr>
          <a:xfrm>
            <a:off x="8364182" y="5276472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2B8A877-4DD6-F0EA-B716-74E7A56AD41C}"/>
              </a:ext>
            </a:extLst>
          </p:cNvPr>
          <p:cNvSpPr/>
          <p:nvPr/>
        </p:nvSpPr>
        <p:spPr>
          <a:xfrm>
            <a:off x="5025652" y="3661153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8AD07A2-6CEA-68D6-C19F-148F81C5D019}"/>
              </a:ext>
            </a:extLst>
          </p:cNvPr>
          <p:cNvSpPr/>
          <p:nvPr/>
        </p:nvSpPr>
        <p:spPr>
          <a:xfrm>
            <a:off x="5025652" y="3998580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8B44324-B872-52EB-6CB1-1DCE93E87BE5}"/>
              </a:ext>
            </a:extLst>
          </p:cNvPr>
          <p:cNvSpPr/>
          <p:nvPr/>
        </p:nvSpPr>
        <p:spPr>
          <a:xfrm>
            <a:off x="8364182" y="3661153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3271AF-D5FE-FA20-7250-88AB8A782BBA}"/>
              </a:ext>
            </a:extLst>
          </p:cNvPr>
          <p:cNvSpPr/>
          <p:nvPr/>
        </p:nvSpPr>
        <p:spPr>
          <a:xfrm>
            <a:off x="8364182" y="3998580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08B86E6-EEC8-C394-969F-7939102B9C38}"/>
              </a:ext>
            </a:extLst>
          </p:cNvPr>
          <p:cNvSpPr/>
          <p:nvPr/>
        </p:nvSpPr>
        <p:spPr>
          <a:xfrm>
            <a:off x="1687120" y="4939046"/>
            <a:ext cx="3273078" cy="337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E48B412-B0CF-372C-4451-11BC2AF5A13F}"/>
              </a:ext>
            </a:extLst>
          </p:cNvPr>
          <p:cNvSpPr/>
          <p:nvPr/>
        </p:nvSpPr>
        <p:spPr>
          <a:xfrm>
            <a:off x="1687120" y="5276472"/>
            <a:ext cx="3273078" cy="9012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DB1EACA-5FBA-55DF-27CE-C531373CB199}"/>
              </a:ext>
            </a:extLst>
          </p:cNvPr>
          <p:cNvSpPr txBox="1"/>
          <p:nvPr/>
        </p:nvSpPr>
        <p:spPr>
          <a:xfrm>
            <a:off x="1687120" y="1942396"/>
            <a:ext cx="3273078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E9B1B64-E26B-883D-25FA-B8A105F982D2}"/>
              </a:ext>
            </a:extLst>
          </p:cNvPr>
          <p:cNvSpPr txBox="1"/>
          <p:nvPr/>
        </p:nvSpPr>
        <p:spPr>
          <a:xfrm>
            <a:off x="8364182" y="1942396"/>
            <a:ext cx="3273078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A2BF2FB-C431-1E0F-7A9E-4D4F6CD14476}"/>
              </a:ext>
            </a:extLst>
          </p:cNvPr>
          <p:cNvSpPr txBox="1"/>
          <p:nvPr/>
        </p:nvSpPr>
        <p:spPr>
          <a:xfrm>
            <a:off x="5025652" y="1942396"/>
            <a:ext cx="3273078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34207A-1D70-2A29-8AB1-46730AE2A70B}"/>
              </a:ext>
            </a:extLst>
          </p:cNvPr>
          <p:cNvSpPr txBox="1"/>
          <p:nvPr/>
        </p:nvSpPr>
        <p:spPr>
          <a:xfrm rot="16200000">
            <a:off x="772405" y="2790866"/>
            <a:ext cx="1238657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79EC10-6685-BAE1-2561-488541A1AADD}"/>
              </a:ext>
            </a:extLst>
          </p:cNvPr>
          <p:cNvSpPr txBox="1"/>
          <p:nvPr/>
        </p:nvSpPr>
        <p:spPr>
          <a:xfrm rot="16200000">
            <a:off x="772405" y="4068757"/>
            <a:ext cx="1238657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8E1979A-8C61-8641-66CC-19D07AAAF664}"/>
              </a:ext>
            </a:extLst>
          </p:cNvPr>
          <p:cNvSpPr txBox="1"/>
          <p:nvPr/>
        </p:nvSpPr>
        <p:spPr>
          <a:xfrm rot="16200000">
            <a:off x="772405" y="5346650"/>
            <a:ext cx="1238657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1BCC4D2-176B-F3FF-B910-BD043692DC30}"/>
              </a:ext>
            </a:extLst>
          </p:cNvPr>
          <p:cNvCxnSpPr/>
          <p:nvPr/>
        </p:nvCxnSpPr>
        <p:spPr>
          <a:xfrm flipV="1">
            <a:off x="1047325" y="2383260"/>
            <a:ext cx="0" cy="3794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36A2D6E-83B9-EAAD-B4FC-6D5F03D3C30F}"/>
              </a:ext>
            </a:extLst>
          </p:cNvPr>
          <p:cNvCxnSpPr>
            <a:cxnSpLocks/>
          </p:cNvCxnSpPr>
          <p:nvPr/>
        </p:nvCxnSpPr>
        <p:spPr>
          <a:xfrm flipH="1">
            <a:off x="1687120" y="1942159"/>
            <a:ext cx="99501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264D0328-7DF8-615D-9A8D-722492364A5C}"/>
              </a:ext>
            </a:extLst>
          </p:cNvPr>
          <p:cNvSpPr txBox="1"/>
          <p:nvPr/>
        </p:nvSpPr>
        <p:spPr>
          <a:xfrm>
            <a:off x="1687120" y="1463837"/>
            <a:ext cx="9950140" cy="44327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 Vita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4A890F1-76AA-3DF3-2D7C-5C6494249BBC}"/>
              </a:ext>
            </a:extLst>
          </p:cNvPr>
          <p:cNvSpPr txBox="1"/>
          <p:nvPr/>
        </p:nvSpPr>
        <p:spPr>
          <a:xfrm rot="16200000">
            <a:off x="-1112555" y="4050547"/>
            <a:ext cx="3794443" cy="459868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 Vita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1147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E9B1B64-E26B-883D-25FA-B8A105F982D2}"/>
              </a:ext>
            </a:extLst>
          </p:cNvPr>
          <p:cNvSpPr txBox="1"/>
          <p:nvPr/>
        </p:nvSpPr>
        <p:spPr>
          <a:xfrm>
            <a:off x="4643485" y="2027428"/>
            <a:ext cx="3005544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A2BF2FB-C431-1E0F-7A9E-4D4F6CD14476}"/>
              </a:ext>
            </a:extLst>
          </p:cNvPr>
          <p:cNvSpPr txBox="1"/>
          <p:nvPr/>
        </p:nvSpPr>
        <p:spPr>
          <a:xfrm>
            <a:off x="1577839" y="2027428"/>
            <a:ext cx="3005544" cy="42344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27A648-8554-55EB-A672-586799D655AB}"/>
              </a:ext>
            </a:extLst>
          </p:cNvPr>
          <p:cNvSpPr/>
          <p:nvPr/>
        </p:nvSpPr>
        <p:spPr>
          <a:xfrm>
            <a:off x="1577839" y="2468291"/>
            <a:ext cx="3005544" cy="508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89EB6D-7F87-A677-F1D5-F6C858F52D4B}"/>
              </a:ext>
            </a:extLst>
          </p:cNvPr>
          <p:cNvSpPr/>
          <p:nvPr/>
        </p:nvSpPr>
        <p:spPr>
          <a:xfrm>
            <a:off x="1577839" y="2976967"/>
            <a:ext cx="3005544" cy="135861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EF8D526-F8EB-99A5-72BA-4E1F6621E4B4}"/>
              </a:ext>
            </a:extLst>
          </p:cNvPr>
          <p:cNvSpPr/>
          <p:nvPr/>
        </p:nvSpPr>
        <p:spPr>
          <a:xfrm>
            <a:off x="4643485" y="2468291"/>
            <a:ext cx="3005544" cy="508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40EB9CF-F0AB-5CCC-8C85-FCA157ACCF9F}"/>
              </a:ext>
            </a:extLst>
          </p:cNvPr>
          <p:cNvSpPr/>
          <p:nvPr/>
        </p:nvSpPr>
        <p:spPr>
          <a:xfrm>
            <a:off x="4643485" y="2976967"/>
            <a:ext cx="3005544" cy="135861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2B8A877-4DD6-F0EA-B716-74E7A56AD41C}"/>
              </a:ext>
            </a:extLst>
          </p:cNvPr>
          <p:cNvSpPr/>
          <p:nvPr/>
        </p:nvSpPr>
        <p:spPr>
          <a:xfrm>
            <a:off x="1577839" y="4394729"/>
            <a:ext cx="3005544" cy="508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8AD07A2-6CEA-68D6-C19F-148F81C5D019}"/>
              </a:ext>
            </a:extLst>
          </p:cNvPr>
          <p:cNvSpPr/>
          <p:nvPr/>
        </p:nvSpPr>
        <p:spPr>
          <a:xfrm>
            <a:off x="1577839" y="4903404"/>
            <a:ext cx="3005544" cy="135861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8B44324-B872-52EB-6CB1-1DCE93E87BE5}"/>
              </a:ext>
            </a:extLst>
          </p:cNvPr>
          <p:cNvSpPr/>
          <p:nvPr/>
        </p:nvSpPr>
        <p:spPr>
          <a:xfrm>
            <a:off x="4643485" y="4394729"/>
            <a:ext cx="3005544" cy="508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3271AF-D5FE-FA20-7250-88AB8A782BBA}"/>
              </a:ext>
            </a:extLst>
          </p:cNvPr>
          <p:cNvSpPr/>
          <p:nvPr/>
        </p:nvSpPr>
        <p:spPr>
          <a:xfrm>
            <a:off x="4643485" y="4903404"/>
            <a:ext cx="3005544" cy="135861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34207A-1D70-2A29-8AB1-46730AE2A70B}"/>
              </a:ext>
            </a:extLst>
          </p:cNvPr>
          <p:cNvSpPr txBox="1"/>
          <p:nvPr/>
        </p:nvSpPr>
        <p:spPr>
          <a:xfrm rot="16200000">
            <a:off x="389673" y="3207520"/>
            <a:ext cx="1867289" cy="388837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79EC10-6685-BAE1-2561-488541A1AADD}"/>
              </a:ext>
            </a:extLst>
          </p:cNvPr>
          <p:cNvSpPr txBox="1"/>
          <p:nvPr/>
        </p:nvSpPr>
        <p:spPr>
          <a:xfrm rot="16200000">
            <a:off x="389673" y="5133955"/>
            <a:ext cx="1867289" cy="388837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1BCC4D2-176B-F3FF-B910-BD043692DC30}"/>
              </a:ext>
            </a:extLst>
          </p:cNvPr>
          <p:cNvCxnSpPr/>
          <p:nvPr/>
        </p:nvCxnSpPr>
        <p:spPr>
          <a:xfrm flipV="1">
            <a:off x="1007061" y="2468292"/>
            <a:ext cx="0" cy="3794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36A2D6E-83B9-EAAD-B4FC-6D5F03D3C30F}"/>
              </a:ext>
            </a:extLst>
          </p:cNvPr>
          <p:cNvCxnSpPr>
            <a:cxnSpLocks/>
          </p:cNvCxnSpPr>
          <p:nvPr/>
        </p:nvCxnSpPr>
        <p:spPr>
          <a:xfrm flipH="1">
            <a:off x="1577839" y="2027191"/>
            <a:ext cx="6071190" cy="2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264D0328-7DF8-615D-9A8D-722492364A5C}"/>
              </a:ext>
            </a:extLst>
          </p:cNvPr>
          <p:cNvSpPr txBox="1"/>
          <p:nvPr/>
        </p:nvSpPr>
        <p:spPr>
          <a:xfrm>
            <a:off x="1577839" y="1538073"/>
            <a:ext cx="6071190" cy="46487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 Vita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4A890F1-76AA-3DF3-2D7C-5C6494249BBC}"/>
              </a:ext>
            </a:extLst>
          </p:cNvPr>
          <p:cNvSpPr txBox="1"/>
          <p:nvPr/>
        </p:nvSpPr>
        <p:spPr>
          <a:xfrm rot="16200000">
            <a:off x="-1131350" y="4154373"/>
            <a:ext cx="3794443" cy="422279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 Vita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1061BD-2123-FAC8-4BF8-30D048199FC6}"/>
              </a:ext>
            </a:extLst>
          </p:cNvPr>
          <p:cNvSpPr/>
          <p:nvPr/>
        </p:nvSpPr>
        <p:spPr>
          <a:xfrm>
            <a:off x="7852232" y="2027191"/>
            <a:ext cx="3785026" cy="4234826"/>
          </a:xfrm>
          <a:prstGeom prst="rect">
            <a:avLst/>
          </a:prstGeom>
          <a:solidFill>
            <a:schemeClr val="tx1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3FDF12D-46C5-F2ED-D5CB-96A207B682A4}"/>
              </a:ext>
            </a:extLst>
          </p:cNvPr>
          <p:cNvSpPr txBox="1"/>
          <p:nvPr/>
        </p:nvSpPr>
        <p:spPr>
          <a:xfrm>
            <a:off x="7852232" y="1538073"/>
            <a:ext cx="3785026" cy="46487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 Vita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5361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4">
      <a:dk1>
        <a:srgbClr val="3F3F3F"/>
      </a:dk1>
      <a:lt1>
        <a:srgbClr val="FFFFFF"/>
      </a:lt1>
      <a:dk2>
        <a:srgbClr val="3F3F3F"/>
      </a:dk2>
      <a:lt2>
        <a:srgbClr val="E7E6E6"/>
      </a:lt2>
      <a:accent1>
        <a:srgbClr val="80C7A7"/>
      </a:accent1>
      <a:accent2>
        <a:srgbClr val="92667D"/>
      </a:accent2>
      <a:accent3>
        <a:srgbClr val="D17083"/>
      </a:accent3>
      <a:accent4>
        <a:srgbClr val="FF788B"/>
      </a:accent4>
      <a:accent5>
        <a:srgbClr val="3C5D7A"/>
      </a:accent5>
      <a:accent6>
        <a:srgbClr val="92667D"/>
      </a:accent6>
      <a:hlink>
        <a:srgbClr val="0563C1"/>
      </a:hlink>
      <a:folHlink>
        <a:srgbClr val="954F72"/>
      </a:folHlink>
    </a:clrScheme>
    <a:fontScheme name="Office">
      <a:majorFont>
        <a:latin typeface="Tahom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Tahom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1</TotalTime>
  <Words>494</Words>
  <Application>Microsoft Office PowerPoint</Application>
  <PresentationFormat>Widescreen</PresentationFormat>
  <Paragraphs>71</Paragraphs>
  <Slides>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Segoe UI</vt:lpstr>
      <vt:lpstr>Tahoma</vt:lpstr>
      <vt:lpstr>Wingdings</vt:lpstr>
      <vt:lpstr>2_Office Theme</vt:lpstr>
      <vt:lpstr>3_Office Theme</vt:lpstr>
      <vt:lpstr>Enter Title Here</vt:lpstr>
      <vt:lpstr>Enter Title He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 Title Here</dc:title>
  <dc:creator>Zainab Kassab</dc:creator>
  <cp:lastModifiedBy>Zainab Kassab</cp:lastModifiedBy>
  <cp:revision>111</cp:revision>
  <dcterms:created xsi:type="dcterms:W3CDTF">2022-10-25T11:11:06Z</dcterms:created>
  <dcterms:modified xsi:type="dcterms:W3CDTF">2023-03-08T11:23:38Z</dcterms:modified>
</cp:coreProperties>
</file>